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1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8" r:id="rId1"/>
    <p:sldMasterId id="2147483871" r:id="rId2"/>
    <p:sldMasterId id="2147483934" r:id="rId3"/>
    <p:sldMasterId id="2147483973" r:id="rId4"/>
    <p:sldMasterId id="2147483978" r:id="rId5"/>
    <p:sldMasterId id="2147483983" r:id="rId6"/>
    <p:sldMasterId id="2147483988" r:id="rId7"/>
    <p:sldMasterId id="2147483993" r:id="rId8"/>
    <p:sldMasterId id="2147483998" r:id="rId9"/>
    <p:sldMasterId id="2147484003" r:id="rId10"/>
    <p:sldMasterId id="2147484008" r:id="rId11"/>
    <p:sldMasterId id="2147484013" r:id="rId12"/>
    <p:sldMasterId id="2147484083" r:id="rId13"/>
  </p:sldMasterIdLst>
  <p:notesMasterIdLst>
    <p:notesMasterId r:id="rId15"/>
  </p:notesMasterIdLst>
  <p:handoutMasterIdLst>
    <p:handoutMasterId r:id="rId16"/>
  </p:handoutMasterIdLst>
  <p:sldIdLst>
    <p:sldId id="946" r:id="rId14"/>
  </p:sldIdLst>
  <p:sldSz cx="9906000" cy="6858000" type="A4"/>
  <p:notesSz cx="6797675" cy="9928225"/>
  <p:defaultTextStyle>
    <a:defPPr>
      <a:defRPr lang="ru-RU"/>
    </a:defPPr>
    <a:lvl1pPr marL="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1pPr>
    <a:lvl2pPr marL="47891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2pPr>
    <a:lvl3pPr marL="95782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3pPr>
    <a:lvl4pPr marL="143673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4pPr>
    <a:lvl5pPr marL="1915648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5pPr>
    <a:lvl6pPr marL="239456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6pPr>
    <a:lvl7pPr marL="287347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7pPr>
    <a:lvl8pPr marL="335238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8pPr>
    <a:lvl9pPr marL="383129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190" userDrawn="1">
          <p15:clr>
            <a:srgbClr val="A4A3A4"/>
          </p15:clr>
        </p15:guide>
        <p15:guide id="2" orient="horz" pos="2332" userDrawn="1">
          <p15:clr>
            <a:srgbClr val="A4A3A4"/>
          </p15:clr>
        </p15:guide>
        <p15:guide id="3" pos="337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pos="4033" userDrawn="1">
          <p15:clr>
            <a:srgbClr val="A4A3A4"/>
          </p15:clr>
        </p15:guide>
        <p15:guide id="6" pos="2468" userDrawn="1">
          <p15:clr>
            <a:srgbClr val="A4A3A4"/>
          </p15:clr>
        </p15:guide>
        <p15:guide id="7" pos="3293" userDrawn="1">
          <p15:clr>
            <a:srgbClr val="A4A3A4"/>
          </p15:clr>
        </p15:guide>
        <p15:guide id="8" pos="5932" userDrawn="1">
          <p15:clr>
            <a:srgbClr val="A4A3A4"/>
          </p15:clr>
        </p15:guide>
        <p15:guide id="9" pos="5859" userDrawn="1">
          <p15:clr>
            <a:srgbClr val="A4A3A4"/>
          </p15:clr>
        </p15:guide>
        <p15:guide id="10" pos="2802" userDrawn="1">
          <p15:clr>
            <a:srgbClr val="A4A3A4"/>
          </p15:clr>
        </p15:guide>
        <p15:guide id="11" pos="35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537F23"/>
    <a:srgbClr val="76B531"/>
    <a:srgbClr val="131008"/>
    <a:srgbClr val="7D71A3"/>
    <a:srgbClr val="52B9E1"/>
    <a:srgbClr val="467DB5"/>
    <a:srgbClr val="955F98"/>
    <a:srgbClr val="7D71A1"/>
    <a:srgbClr val="7D70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735" autoAdjust="0"/>
    <p:restoredTop sz="94434" autoAdjust="0"/>
  </p:normalViewPr>
  <p:slideViewPr>
    <p:cSldViewPr>
      <p:cViewPr>
        <p:scale>
          <a:sx n="89" d="100"/>
          <a:sy n="89" d="100"/>
        </p:scale>
        <p:origin x="-302" y="-58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  <p:guide pos="3512"/>
      </p:guideLst>
    </p:cSldViewPr>
  </p:slideViewPr>
  <p:outlineViewPr>
    <p:cViewPr>
      <p:scale>
        <a:sx n="33" d="100"/>
        <a:sy n="33" d="100"/>
      </p:scale>
      <p:origin x="0" y="35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3EFE8F48-518E-45D7-8E2F-81EAFEDACB4B}" type="datetimeFigureOut">
              <a:rPr lang="ru-RU" smtClean="0"/>
              <a:t>12.03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D3D3AAB1-C1C3-40FB-A831-6BB6913BE0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38272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116E73D2-0DB3-4D3F-BA46-2F6089FCDCA0}" type="datetimeFigureOut">
              <a:rPr lang="ru-RU" smtClean="0"/>
              <a:t>12.03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4AEBD501-1932-4DA5-A84C-37914F6608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214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1pPr>
    <a:lvl2pPr marL="43708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2pPr>
    <a:lvl3pPr marL="8741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3pPr>
    <a:lvl4pPr marL="131125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4pPr>
    <a:lvl5pPr marL="174833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18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4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6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4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6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4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4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4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4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1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4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435359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5E621-2423-45DF-8B26-56147C111484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65521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85598-2C0F-4DCA-970D-4CEA01143909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38286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6"/>
            <a:ext cx="103714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ru-RU" sz="952" b="1" dirty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7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hangingPunct="1">
              <a:defRPr/>
            </a:pPr>
            <a:endParaRPr lang="ru-RU" sz="857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80" y="508601"/>
            <a:ext cx="299120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656176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2" y="1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56906" eaLnBrk="0" hangingPunct="0"/>
              <a:r>
                <a:rPr lang="ru-RU" sz="857" dirty="0">
                  <a:solidFill>
                    <a:srgbClr val="414142"/>
                  </a:solidFill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hangingPunct="0"/>
              <a:r>
                <a:rPr lang="ru-RU" sz="857" dirty="0">
                  <a:solidFill>
                    <a:srgbClr val="414142"/>
                  </a:solidFill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096"/>
          <a:stretch/>
        </p:blipFill>
        <p:spPr bwMode="auto">
          <a:xfrm>
            <a:off x="6903217" y="1196754"/>
            <a:ext cx="1169676" cy="1243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grpSp>
        <p:nvGrpSpPr>
          <p:cNvPr id="23" name="Group 22"/>
          <p:cNvGrpSpPr/>
          <p:nvPr userDrawn="1"/>
        </p:nvGrpSpPr>
        <p:grpSpPr>
          <a:xfrm>
            <a:off x="0" y="0"/>
            <a:ext cx="9906000" cy="980728"/>
            <a:chOff x="0" y="2505596"/>
            <a:chExt cx="6696744" cy="1707025"/>
          </a:xfrm>
        </p:grpSpPr>
        <p:sp>
          <p:nvSpPr>
            <p:cNvPr id="24" name="Rectangle 23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3" name="Picture 2" descr="kar-word-logo1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80730"/>
            <a:ext cx="3236809" cy="130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1486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3813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370696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, 24</a:t>
            </a:r>
            <a:r>
              <a:rPr lang="ru-RU" dirty="0"/>
              <a:t>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Текст (</a:t>
            </a:r>
            <a:r>
              <a:rPr lang="en-US" dirty="0"/>
              <a:t>Calibri, 24 </a:t>
            </a:r>
            <a:r>
              <a:rPr lang="ru-RU" dirty="0" err="1"/>
              <a:t>пт</a:t>
            </a:r>
            <a:r>
              <a:rPr lang="en-US" dirty="0"/>
              <a:t>)</a:t>
            </a:r>
            <a:endParaRPr lang="ru-RU" dirty="0"/>
          </a:p>
          <a:p>
            <a:pPr lvl="2"/>
            <a:r>
              <a:rPr lang="ru-RU" dirty="0"/>
              <a:t>Первый уровень (</a:t>
            </a:r>
            <a:r>
              <a:rPr lang="en-US" dirty="0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Второй уровень (</a:t>
            </a:r>
            <a:r>
              <a:rPr lang="en-US" dirty="0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4"/>
            <a:r>
              <a:rPr lang="ru-RU" dirty="0"/>
              <a:t>Третий уровень (</a:t>
            </a:r>
            <a:r>
              <a:rPr lang="en-US" dirty="0"/>
              <a:t>Calibri, </a:t>
            </a:r>
            <a:r>
              <a:rPr lang="ru-RU" dirty="0"/>
              <a:t>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1342734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ru-RU" dirty="0" err="1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2716552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, 24</a:t>
            </a:r>
            <a:r>
              <a:rPr lang="ru-RU" dirty="0"/>
              <a:t>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Текст (</a:t>
            </a:r>
            <a:r>
              <a:rPr lang="en-US" dirty="0"/>
              <a:t>Calibri, 24 </a:t>
            </a:r>
            <a:r>
              <a:rPr lang="ru-RU" dirty="0" err="1"/>
              <a:t>пт</a:t>
            </a:r>
            <a:r>
              <a:rPr lang="en-US" dirty="0"/>
              <a:t>)</a:t>
            </a:r>
            <a:endParaRPr lang="ru-RU" dirty="0"/>
          </a:p>
          <a:p>
            <a:pPr lvl="2"/>
            <a:r>
              <a:rPr lang="ru-RU" dirty="0"/>
              <a:t>Первый уровень (</a:t>
            </a:r>
            <a:r>
              <a:rPr lang="en-US" dirty="0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Второй уровень (</a:t>
            </a:r>
            <a:r>
              <a:rPr lang="en-US" dirty="0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4"/>
            <a:r>
              <a:rPr lang="ru-RU" dirty="0"/>
              <a:t>Третий уровень (</a:t>
            </a:r>
            <a:r>
              <a:rPr lang="en-US" dirty="0"/>
              <a:t>Calibri, </a:t>
            </a:r>
            <a:r>
              <a:rPr lang="ru-RU" dirty="0"/>
              <a:t>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839567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7515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DDD8AE-41E1-471F-8F93-F6F27CD8EE67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66857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B148DC-A899-4108-80E1-A8AA8154927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29788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 hasCustomPrompt="1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14" name="Freeform 145"/>
          <p:cNvSpPr>
            <a:spLocks/>
          </p:cNvSpPr>
          <p:nvPr userDrawn="1"/>
        </p:nvSpPr>
        <p:spPr bwMode="auto">
          <a:xfrm flipV="1">
            <a:off x="59243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7" name="Freeform 146"/>
          <p:cNvSpPr>
            <a:spLocks/>
          </p:cNvSpPr>
          <p:nvPr userDrawn="1"/>
        </p:nvSpPr>
        <p:spPr bwMode="auto">
          <a:xfrm flipV="1">
            <a:off x="59243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 hasCustomPrompt="1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22" name="Freeform 145"/>
          <p:cNvSpPr>
            <a:spLocks/>
          </p:cNvSpPr>
          <p:nvPr userDrawn="1"/>
        </p:nvSpPr>
        <p:spPr bwMode="auto">
          <a:xfrm flipV="1">
            <a:off x="554837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4" name="Freeform 146"/>
          <p:cNvSpPr>
            <a:spLocks/>
          </p:cNvSpPr>
          <p:nvPr userDrawn="1"/>
        </p:nvSpPr>
        <p:spPr bwMode="auto">
          <a:xfrm flipV="1">
            <a:off x="554837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6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2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3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4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5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6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7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8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9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05483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 hasCustomPrompt="1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11" name="Freeform 145"/>
          <p:cNvSpPr>
            <a:spLocks/>
          </p:cNvSpPr>
          <p:nvPr userDrawn="1"/>
        </p:nvSpPr>
        <p:spPr bwMode="auto">
          <a:xfrm flipV="1">
            <a:off x="5656970" y="1582591"/>
            <a:ext cx="3659973" cy="337670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2" name="Freeform 146"/>
          <p:cNvSpPr>
            <a:spLocks/>
          </p:cNvSpPr>
          <p:nvPr userDrawn="1"/>
        </p:nvSpPr>
        <p:spPr bwMode="auto">
          <a:xfrm flipV="1">
            <a:off x="5656970" y="5696879"/>
            <a:ext cx="3659973" cy="327739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3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9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4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24638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18653" y="2223823"/>
            <a:ext cx="7324017" cy="2988232"/>
            <a:chOff x="1900645" y="2454346"/>
            <a:chExt cx="6397771" cy="2627564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26159" y="2454349"/>
              <a:ext cx="2480948" cy="798517"/>
              <a:chOff x="1926159" y="2454349"/>
              <a:chExt cx="2480948" cy="798517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26159" y="2469790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592706" y="2454349"/>
                <a:ext cx="814401" cy="79851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936179" y="4317167"/>
              <a:ext cx="2455939" cy="764743"/>
              <a:chOff x="1936179" y="4317167"/>
              <a:chExt cx="2455939" cy="764743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936179" y="5078536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645797" y="4317167"/>
                <a:ext cx="746321" cy="76474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846164" y="4332157"/>
              <a:ext cx="2320822" cy="749753"/>
              <a:chOff x="5846164" y="4332157"/>
              <a:chExt cx="2320822" cy="749753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474986" y="5078535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846164" y="4332157"/>
                <a:ext cx="630925" cy="74975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93636" y="2454346"/>
              <a:ext cx="2404780" cy="792000"/>
              <a:chOff x="5893636" y="2454346"/>
              <a:chExt cx="2404780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416" y="245723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636" y="2454346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7" name="Группа 26"/>
            <p:cNvGrpSpPr/>
            <p:nvPr userDrawn="1"/>
          </p:nvGrpSpPr>
          <p:grpSpPr>
            <a:xfrm>
              <a:off x="1900645" y="3756906"/>
              <a:ext cx="2314548" cy="12099"/>
              <a:chOff x="1900645" y="3756906"/>
              <a:chExt cx="2314548" cy="12099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0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567193" y="3756906"/>
                <a:ext cx="648000" cy="1209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6" name="Группа 25"/>
            <p:cNvGrpSpPr/>
            <p:nvPr userDrawn="1"/>
          </p:nvGrpSpPr>
          <p:grpSpPr>
            <a:xfrm>
              <a:off x="6041036" y="3756893"/>
              <a:ext cx="2257380" cy="12102"/>
              <a:chOff x="6041036" y="3756893"/>
              <a:chExt cx="2257380" cy="12102"/>
            </a:xfrm>
          </p:grpSpPr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V="1">
                <a:off x="6606416" y="375689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3" name="Line 37"/>
              <p:cNvSpPr>
                <a:spLocks noChangeShapeType="1"/>
              </p:cNvSpPr>
              <p:nvPr/>
            </p:nvSpPr>
            <p:spPr bwMode="auto">
              <a:xfrm>
                <a:off x="6041036" y="3762528"/>
                <a:ext cx="590832" cy="646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351398218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01850" y="2415069"/>
            <a:ext cx="7326043" cy="2664933"/>
            <a:chOff x="1885967" y="2622509"/>
            <a:chExt cx="6399542" cy="2343289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13606" y="2635065"/>
              <a:ext cx="2460102" cy="763340"/>
              <a:chOff x="1913606" y="2635065"/>
              <a:chExt cx="2460102" cy="763340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13606" y="263795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605259" y="2635065"/>
                <a:ext cx="768449" cy="76334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885967" y="4204191"/>
              <a:ext cx="2455939" cy="761607"/>
              <a:chOff x="1885967" y="4204191"/>
              <a:chExt cx="2455939" cy="761607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559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580043" y="4204191"/>
                <a:ext cx="761863" cy="76160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908929" y="4206627"/>
              <a:ext cx="2376580" cy="746378"/>
              <a:chOff x="5908929" y="4206627"/>
              <a:chExt cx="2376580" cy="746378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597246" y="4953005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908929" y="4206627"/>
                <a:ext cx="700870" cy="746378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81083" y="2622509"/>
              <a:ext cx="2401043" cy="792000"/>
              <a:chOff x="5881083" y="2622509"/>
              <a:chExt cx="2401043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593863" y="2625399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81083" y="2622509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196952055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/>
              <a:t>Комментарий к изображению (</a:t>
            </a:r>
            <a:r>
              <a:rPr lang="en-US" dirty="0"/>
              <a:t>Calibri, 1</a:t>
            </a:r>
            <a:r>
              <a:rPr lang="ru-RU" dirty="0"/>
              <a:t>6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1"/>
            <a:r>
              <a:rPr lang="ru-RU" dirty="0"/>
              <a:t>Первый уровень (</a:t>
            </a:r>
            <a:r>
              <a:rPr lang="en-US" dirty="0"/>
              <a:t>Calibri,</a:t>
            </a:r>
            <a:r>
              <a:rPr lang="ru-RU" dirty="0"/>
              <a:t>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55492614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7021960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 hasCustomPrompt="1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01083374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1310568985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5489925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7020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DE5BF-2111-44D3-B6B6-E84876A3398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033782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816761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51111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0815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1491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4024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76562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60154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837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881031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9457219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27D1E-8760-4F75-8A65-E901FBF993B8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645044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587811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23412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6946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245501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03567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350136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956386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1816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609554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77703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66AFC-AA4B-411A-9543-C99A410D6C6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649925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6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>
                <a:solidFill>
                  <a:srgbClr val="414142"/>
                </a:solidFill>
              </a:rPr>
              <a:t>‹#›</a:t>
            </a:r>
          </a:p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9446236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414142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4320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825020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7834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016304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3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31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0"/>
            <a:ext cx="3290966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95023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33749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6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16" tIns="45108" rIns="90216" bIns="45108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>
            <a:spAutoFit/>
          </a:bodyPr>
          <a:lstStyle>
            <a:lvl1pPr>
              <a:defRPr sz="1385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6030597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31703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2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914294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15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1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632867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5807375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99243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55672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B4AB1-B8EC-415D-AE03-A9C01327FDA6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1635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76702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904934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448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44160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69045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3855844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70453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203963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670187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016304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3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31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0"/>
            <a:ext cx="3290966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95023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33749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6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16" tIns="45108" rIns="90216" bIns="45108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>
            <a:spAutoFit/>
          </a:bodyPr>
          <a:lstStyle>
            <a:lvl1pPr>
              <a:defRPr sz="1385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8282379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25F091-A418-48E2-B21B-9DD2A9739E1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75619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83217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2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794780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15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1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25397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381695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207746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115267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714411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7989812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28862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698598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AA80B-22DD-4FF4-9344-A437B7BC5601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432188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351072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7" y="162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7" y="162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80" y="349866"/>
            <a:ext cx="1029128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78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95774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6"/>
            <a:ext cx="2901435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2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3" tIns="46635" rIns="93273" bIns="46635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43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4" y="3179907"/>
            <a:ext cx="5455757" cy="494623"/>
          </a:xfrm>
          <a:prstGeom prst="rect">
            <a:avLst/>
          </a:prstGeom>
        </p:spPr>
        <p:txBody>
          <a:bodyPr/>
          <a:lstStyle>
            <a:lvl1pPr>
              <a:defRPr sz="3214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4" y="3945700"/>
            <a:ext cx="5455757" cy="2198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5"/>
            <a:ext cx="6338436" cy="2240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69"/>
            <a:ext cx="9888453" cy="188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2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0804564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7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714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37919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7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28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28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706944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2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06411134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4" y="2"/>
            <a:ext cx="8386606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5A987C4-92A2-49D3-80C1-6CE2D034F4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659702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ADC8B1A-6B73-412C-AE44-C827CC7AF4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999927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14CD46-22B1-45C2-860C-7CCDDFF9C9D5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93405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75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vmlDrawing" Target="../drawings/vmlDrawing13.vml"/><Relationship Id="rId11" Type="http://schemas.openxmlformats.org/officeDocument/2006/relationships/image" Target="../media/image14.png"/><Relationship Id="rId5" Type="http://schemas.openxmlformats.org/officeDocument/2006/relationships/theme" Target="../theme/theme10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76.xml"/><Relationship Id="rId9" Type="http://schemas.openxmlformats.org/officeDocument/2006/relationships/image" Target="../media/image13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79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vmlDrawing" Target="../drawings/vmlDrawing15.vml"/><Relationship Id="rId11" Type="http://schemas.openxmlformats.org/officeDocument/2006/relationships/image" Target="../media/image14.png"/><Relationship Id="rId5" Type="http://schemas.openxmlformats.org/officeDocument/2006/relationships/theme" Target="../theme/theme11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80.xml"/><Relationship Id="rId9" Type="http://schemas.openxmlformats.org/officeDocument/2006/relationships/image" Target="../media/image13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83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ags" Target="../tags/tag17.xml"/><Relationship Id="rId5" Type="http://schemas.openxmlformats.org/officeDocument/2006/relationships/vmlDrawing" Target="../drawings/vmlDrawing17.vml"/><Relationship Id="rId10" Type="http://schemas.openxmlformats.org/officeDocument/2006/relationships/image" Target="../media/image14.png"/><Relationship Id="rId4" Type="http://schemas.openxmlformats.org/officeDocument/2006/relationships/theme" Target="../theme/theme12.xml"/><Relationship Id="rId9" Type="http://schemas.openxmlformats.org/officeDocument/2006/relationships/image" Target="../media/image10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18.png"/><Relationship Id="rId5" Type="http://schemas.openxmlformats.org/officeDocument/2006/relationships/image" Target="../media/image9.jpeg"/><Relationship Id="rId4" Type="http://schemas.openxmlformats.org/officeDocument/2006/relationships/theme" Target="../theme/theme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heme" Target="../theme/theme4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5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4.png"/><Relationship Id="rId5" Type="http://schemas.openxmlformats.org/officeDocument/2006/relationships/theme" Target="../theme/theme5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13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5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14.png"/><Relationship Id="rId5" Type="http://schemas.openxmlformats.org/officeDocument/2006/relationships/theme" Target="../theme/theme6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0.xml"/><Relationship Id="rId9" Type="http://schemas.openxmlformats.org/officeDocument/2006/relationships/image" Target="../media/image13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63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14.png"/><Relationship Id="rId5" Type="http://schemas.openxmlformats.org/officeDocument/2006/relationships/theme" Target="../theme/theme7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1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67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14.png"/><Relationship Id="rId5" Type="http://schemas.openxmlformats.org/officeDocument/2006/relationships/theme" Target="../theme/theme8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8.xml"/><Relationship Id="rId9" Type="http://schemas.openxmlformats.org/officeDocument/2006/relationships/image" Target="../media/image13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71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vmlDrawing" Target="../drawings/vmlDrawing11.vml"/><Relationship Id="rId11" Type="http://schemas.openxmlformats.org/officeDocument/2006/relationships/image" Target="../media/image14.png"/><Relationship Id="rId5" Type="http://schemas.openxmlformats.org/officeDocument/2006/relationships/theme" Target="../theme/theme9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72.xml"/><Relationship Id="rId9" Type="http://schemas.openxmlformats.org/officeDocument/2006/relationships/image" Target="../media/image1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8468"/>
            <a:ext cx="8229364" cy="980728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5468" y="63813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14" b="1">
                <a:solidFill>
                  <a:schemeClr val="accent2"/>
                </a:solidFill>
                <a:latin typeface="Microsoft Sans Serif"/>
                <a:cs typeface="Microsoft Sans Serif"/>
              </a:defRPr>
            </a:lvl1pPr>
          </a:lstStyle>
          <a:p>
            <a:pPr defTabSz="954155">
              <a:defRPr/>
            </a:pPr>
            <a:fld id="{78BE5482-BCD3-488D-889D-C7CA54C942EE}" type="slidenum">
              <a:rPr lang="ru-RU" smtClean="0">
                <a:solidFill>
                  <a:srgbClr val="0D6186"/>
                </a:solidFill>
              </a:rPr>
              <a:pPr defTabSz="954155"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9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6" name="Rectangle 5"/>
          <p:cNvSpPr/>
          <p:nvPr userDrawn="1"/>
        </p:nvSpPr>
        <p:spPr>
          <a:xfrm rot="10800000">
            <a:off x="6981226" y="1"/>
            <a:ext cx="1610396" cy="1105519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rtlCol="0" anchor="ctr"/>
          <a:lstStyle/>
          <a:p>
            <a:pPr algn="ctr" defTabSz="954155"/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686393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269" y="188640"/>
            <a:ext cx="873268" cy="713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46"/>
          <p:cNvPicPr>
            <a:picLocks noChangeAspect="1"/>
          </p:cNvPicPr>
          <p:nvPr userDrawn="1"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17330" y="205574"/>
            <a:ext cx="942042" cy="67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accent3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8855" indent="-18885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714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6055" indent="-18554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429">
          <a:solidFill>
            <a:schemeClr val="tx1"/>
          </a:solidFill>
          <a:latin typeface="Microsoft Sans Serif"/>
          <a:cs typeface="Microsoft Sans Serif"/>
        </a:defRPr>
      </a:lvl2pPr>
      <a:lvl3pPr marL="1212651" indent="-279970" algn="l" rtl="0" eaLnBrk="0" fontAlgn="base" hangingPunct="0">
        <a:spcBef>
          <a:spcPct val="0"/>
        </a:spcBef>
        <a:spcAft>
          <a:spcPct val="30000"/>
        </a:spcAft>
        <a:buBlip>
          <a:blip r:embed="rId31"/>
        </a:buBlip>
        <a:defRPr sz="2286">
          <a:solidFill>
            <a:schemeClr val="tx1"/>
          </a:solidFill>
          <a:latin typeface="+mn-lt"/>
          <a:cs typeface="+mn-cs"/>
        </a:defRPr>
      </a:lvl3pPr>
      <a:lvl4pPr marL="1737802" indent="-238554" algn="l" rtl="0" eaLnBrk="0" fontAlgn="base" hangingPunct="0">
        <a:spcBef>
          <a:spcPct val="20000"/>
        </a:spcBef>
        <a:spcAft>
          <a:spcPct val="0"/>
        </a:spcAft>
        <a:buChar char="–"/>
        <a:defRPr sz="2095">
          <a:solidFill>
            <a:schemeClr val="tx1"/>
          </a:solidFill>
          <a:latin typeface="+mn-lt"/>
          <a:cs typeface="+mn-cs"/>
        </a:defRPr>
      </a:lvl4pPr>
      <a:lvl5pPr marL="2163555" indent="-238554" algn="l" rtl="0" eaLnBrk="0" fontAlgn="base" hangingPunct="0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34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</p:sldLayoutIdLst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339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82643" y="1977645"/>
            <a:ext cx="2292294" cy="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3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143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21302" y="4195625"/>
            <a:ext cx="2014975" cy="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3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143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8"/>
            <a:ext cx="475558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61"/>
            <a:ext cx="9526956" cy="257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43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75570"/>
            <a:ext cx="9449744" cy="145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8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8" cy="145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88" indent="-621788" defTabSz="913251" fontAlgn="base">
              <a:spcBef>
                <a:spcPct val="0"/>
              </a:spcBef>
              <a:spcAft>
                <a:spcPct val="0"/>
              </a:spcAft>
              <a:tabLst>
                <a:tab pos="625027" algn="l"/>
              </a:tabLst>
            </a:pPr>
            <a:r>
              <a:rPr lang="ru-RU" sz="928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3820"/>
            <a:ext cx="4713466" cy="534517"/>
            <a:chOff x="915" y="700"/>
            <a:chExt cx="2686" cy="33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43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4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3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9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9850" y="42453"/>
            <a:ext cx="980948" cy="80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2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1477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7" r:id="rId3"/>
  </p:sldLayoutIdLst>
  <p:hf hdr="0" ftr="0" dt="0"/>
  <p:txStyles>
    <p:titleStyle>
      <a:lvl1pPr algn="l" defTabSz="913251" rtl="0" eaLnBrk="1" fontAlgn="base" hangingPunct="1">
        <a:spcBef>
          <a:spcPct val="0"/>
        </a:spcBef>
        <a:spcAft>
          <a:spcPct val="0"/>
        </a:spcAft>
        <a:tabLst>
          <a:tab pos="364330" algn="l"/>
        </a:tabLst>
        <a:defRPr sz="192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2pPr>
      <a:lvl3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3pPr>
      <a:lvl4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4pPr>
      <a:lvl5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5pPr>
      <a:lvl6pPr marL="466340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6pPr>
      <a:lvl7pPr marL="93268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7pPr>
      <a:lvl8pPr marL="1399022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8pPr>
      <a:lvl9pPr marL="186536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43">
          <a:solidFill>
            <a:schemeClr val="tx1"/>
          </a:solidFill>
          <a:latin typeface="+mn-lt"/>
          <a:ea typeface="+mn-ea"/>
          <a:cs typeface="+mn-cs"/>
        </a:defRPr>
      </a:lvl1pPr>
      <a:lvl2pPr marL="197547" indent="-19592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43">
          <a:solidFill>
            <a:schemeClr val="tx1"/>
          </a:solidFill>
          <a:latin typeface="+mn-lt"/>
        </a:defRPr>
      </a:lvl2pPr>
      <a:lvl3pPr marL="466340" indent="-267176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43">
          <a:solidFill>
            <a:schemeClr val="tx1"/>
          </a:solidFill>
          <a:latin typeface="+mn-lt"/>
        </a:defRPr>
      </a:lvl3pPr>
      <a:lvl4pPr marL="626646" indent="-158685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43">
          <a:solidFill>
            <a:schemeClr val="tx1"/>
          </a:solidFill>
          <a:latin typeface="+mn-lt"/>
        </a:defRPr>
      </a:lvl4pPr>
      <a:lvl5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5pPr>
      <a:lvl6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6pPr>
      <a:lvl7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7pPr>
      <a:lvl8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8pPr>
      <a:lvl9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6634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3268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5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6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8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9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</a:defRPr>
            </a:lvl1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fld id="{5628F879-B16A-4F82-A8D3-6815E0AC5645}" type="slidenum">
              <a:rPr lang="ru-RU"/>
              <a:pPr defTabSz="95726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  <p:pic>
        <p:nvPicPr>
          <p:cNvPr id="11115523" name="navigation8" descr="ujkm,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453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3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6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7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59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25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91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56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31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7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63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29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4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6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2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44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385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226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8934" y="1984473"/>
            <a:ext cx="1979709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557" y="4202453"/>
            <a:ext cx="1742465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7"/>
            <a:ext cx="4755582" cy="1207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7"/>
            <a:ext cx="849592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85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59"/>
            <a:ext cx="9526956" cy="246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69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897"/>
            <a:ext cx="9449744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1404" indent="-601404" defTabSz="883312" fontAlgn="base">
              <a:spcBef>
                <a:spcPct val="0"/>
              </a:spcBef>
              <a:spcAft>
                <a:spcPct val="0"/>
              </a:spcAft>
              <a:tabLst>
                <a:tab pos="604536" algn="l"/>
              </a:tabLst>
            </a:pPr>
            <a:r>
              <a:rPr lang="ru-RU" sz="1015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6498"/>
            <a:ext cx="4713466" cy="511839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8421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</p:sldLayoutIdLst>
  <p:hf hdr="0" ftr="0" dt="0"/>
  <p:txStyles>
    <p:titleStyle>
      <a:lvl1pPr algn="l" defTabSz="883312" rtl="0" eaLnBrk="1" fontAlgn="base" hangingPunct="1">
        <a:spcBef>
          <a:spcPct val="0"/>
        </a:spcBef>
        <a:spcAft>
          <a:spcPct val="0"/>
        </a:spcAft>
        <a:tabLst>
          <a:tab pos="352385" algn="l"/>
        </a:tabLst>
        <a:defRPr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2pPr>
      <a:lvl3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3pPr>
      <a:lvl4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4pPr>
      <a:lvl5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9">
          <a:solidFill>
            <a:schemeClr val="tx1"/>
          </a:solidFill>
          <a:latin typeface="+mn-lt"/>
          <a:ea typeface="+mn-ea"/>
          <a:cs typeface="+mn-cs"/>
        </a:defRPr>
      </a:lvl1pPr>
      <a:lvl2pPr marL="191071" indent="-18950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9">
          <a:solidFill>
            <a:schemeClr val="tx1"/>
          </a:solidFill>
          <a:latin typeface="+mn-lt"/>
        </a:defRPr>
      </a:lvl2pPr>
      <a:lvl3pPr marL="451053" indent="-258416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9">
          <a:solidFill>
            <a:schemeClr val="tx1"/>
          </a:solidFill>
          <a:latin typeface="+mn-lt"/>
        </a:defRPr>
      </a:lvl3pPr>
      <a:lvl4pPr marL="606103" indent="-153484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9">
          <a:solidFill>
            <a:schemeClr val="tx1"/>
          </a:solidFill>
          <a:latin typeface="+mn-lt"/>
        </a:defRPr>
      </a:lvl4pPr>
      <a:lvl5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195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675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</p:sldLayoutIdLst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2187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</p:sldLayoutIdLst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8934" y="1984473"/>
            <a:ext cx="1979709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557" y="4202453"/>
            <a:ext cx="1742465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7"/>
            <a:ext cx="4755582" cy="1207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7"/>
            <a:ext cx="849592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85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59"/>
            <a:ext cx="9526956" cy="246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69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897"/>
            <a:ext cx="9449744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1404" indent="-601404" defTabSz="883312" fontAlgn="base">
              <a:spcBef>
                <a:spcPct val="0"/>
              </a:spcBef>
              <a:spcAft>
                <a:spcPct val="0"/>
              </a:spcAft>
              <a:tabLst>
                <a:tab pos="604536" algn="l"/>
              </a:tabLst>
            </a:pPr>
            <a:r>
              <a:rPr lang="ru-RU" sz="1015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6498"/>
            <a:ext cx="4713466" cy="511839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5480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hf hdr="0" ftr="0" dt="0"/>
  <p:txStyles>
    <p:titleStyle>
      <a:lvl1pPr algn="l" defTabSz="883312" rtl="0" eaLnBrk="1" fontAlgn="base" hangingPunct="1">
        <a:spcBef>
          <a:spcPct val="0"/>
        </a:spcBef>
        <a:spcAft>
          <a:spcPct val="0"/>
        </a:spcAft>
        <a:tabLst>
          <a:tab pos="352385" algn="l"/>
        </a:tabLst>
        <a:defRPr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2pPr>
      <a:lvl3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3pPr>
      <a:lvl4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4pPr>
      <a:lvl5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9">
          <a:solidFill>
            <a:schemeClr val="tx1"/>
          </a:solidFill>
          <a:latin typeface="+mn-lt"/>
          <a:ea typeface="+mn-ea"/>
          <a:cs typeface="+mn-cs"/>
        </a:defRPr>
      </a:lvl1pPr>
      <a:lvl2pPr marL="191071" indent="-18950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9">
          <a:solidFill>
            <a:schemeClr val="tx1"/>
          </a:solidFill>
          <a:latin typeface="+mn-lt"/>
        </a:defRPr>
      </a:lvl2pPr>
      <a:lvl3pPr marL="451053" indent="-258416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9">
          <a:solidFill>
            <a:schemeClr val="tx1"/>
          </a:solidFill>
          <a:latin typeface="+mn-lt"/>
        </a:defRPr>
      </a:lvl3pPr>
      <a:lvl4pPr marL="606103" indent="-153484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9">
          <a:solidFill>
            <a:schemeClr val="tx1"/>
          </a:solidFill>
          <a:latin typeface="+mn-lt"/>
        </a:defRPr>
      </a:lvl4pPr>
      <a:lvl5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Grp="1"/>
          </p:cNvSpPr>
          <p:nvPr/>
        </p:nvSpPr>
        <p:spPr bwMode="auto">
          <a:xfrm>
            <a:off x="1571025" y="230789"/>
            <a:ext cx="7121410" cy="444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lnSpc>
                <a:spcPts val="1735"/>
              </a:lnSpc>
            </a:pPr>
            <a:r>
              <a:rPr lang="ru-RU" sz="1632" dirty="0">
                <a:solidFill>
                  <a:srgbClr val="002960"/>
                </a:solidFill>
              </a:rPr>
              <a:t>Карточка </a:t>
            </a:r>
            <a:r>
              <a:rPr lang="ru-RU" sz="1632" dirty="0">
                <a:solidFill>
                  <a:srgbClr val="003274"/>
                </a:solidFill>
              </a:rPr>
              <a:t>1-го этапа ПСР-проекта «Оптимизация процесса обработки входящей корреспонденции и подготовки ответов»</a:t>
            </a:r>
            <a:r>
              <a:rPr lang="ru-RU" sz="1632" dirty="0">
                <a:solidFill>
                  <a:srgbClr val="002960"/>
                </a:solidFill>
              </a:rPr>
              <a:t>»</a:t>
            </a:r>
            <a:endParaRPr lang="en-US" sz="1632" dirty="0">
              <a:solidFill>
                <a:srgbClr val="002960"/>
              </a:solidFill>
            </a:endParaRPr>
          </a:p>
        </p:txBody>
      </p:sp>
      <p:grpSp>
        <p:nvGrpSpPr>
          <p:cNvPr id="70" name="Group 2"/>
          <p:cNvGrpSpPr/>
          <p:nvPr/>
        </p:nvGrpSpPr>
        <p:grpSpPr>
          <a:xfrm>
            <a:off x="502475" y="956541"/>
            <a:ext cx="8959963" cy="5424177"/>
            <a:chOff x="244269" y="981541"/>
            <a:chExt cx="8781594" cy="5847814"/>
          </a:xfrm>
        </p:grpSpPr>
        <p:sp>
          <p:nvSpPr>
            <p:cNvPr id="71" name="Прямоугольник 33"/>
            <p:cNvSpPr/>
            <p:nvPr/>
          </p:nvSpPr>
          <p:spPr>
            <a:xfrm>
              <a:off x="244269" y="988716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632" kern="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72" name="Прямоугольник 34"/>
            <p:cNvSpPr/>
            <p:nvPr/>
          </p:nvSpPr>
          <p:spPr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632" kern="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73" name="Прямоугольник 35"/>
            <p:cNvSpPr/>
            <p:nvPr/>
          </p:nvSpPr>
          <p:spPr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918" kern="0" dirty="0">
                <a:solidFill>
                  <a:srgbClr val="414142"/>
                </a:solidFill>
                <a:cs typeface="Arial"/>
              </a:endParaRPr>
            </a:p>
          </p:txBody>
        </p:sp>
        <p:sp>
          <p:nvSpPr>
            <p:cNvPr id="74" name="Прямоугольник 36"/>
            <p:cNvSpPr/>
            <p:nvPr/>
          </p:nvSpPr>
          <p:spPr>
            <a:xfrm>
              <a:off x="4499256" y="3793956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632" kern="0" dirty="0">
                <a:solidFill>
                  <a:srgbClr val="FFFFFF"/>
                </a:solidFill>
                <a:cs typeface="Arial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726219" y="3784665"/>
              <a:ext cx="4233878" cy="2742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kern="0" dirty="0"/>
                <a:t>4</a:t>
              </a:r>
              <a:r>
                <a:rPr lang="ru-RU" sz="1020" kern="0" dirty="0"/>
                <a:t>. Ключевые события проекта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312742" y="3841870"/>
              <a:ext cx="4233878" cy="2742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u="sng" kern="0" dirty="0">
                  <a:solidFill>
                    <a:srgbClr val="3E87BD">
                      <a:lumMod val="75000"/>
                    </a:srgbClr>
                  </a:solidFill>
                </a:rPr>
                <a:t>3</a:t>
              </a:r>
              <a:r>
                <a:rPr lang="ru-RU" sz="1020" u="sng" kern="0" dirty="0">
                  <a:solidFill>
                    <a:srgbClr val="3E87BD">
                      <a:lumMod val="75000"/>
                    </a:srgbClr>
                  </a:solidFill>
                </a:rPr>
                <a:t>. Цели и плановый эффект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680840" y="981541"/>
              <a:ext cx="4211640" cy="2742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b="1" u="sng" kern="0" dirty="0">
                  <a:solidFill>
                    <a:srgbClr val="3E87BD">
                      <a:lumMod val="75000"/>
                    </a:srgbClr>
                  </a:solidFill>
                </a:rPr>
                <a:t>2</a:t>
              </a:r>
              <a:r>
                <a:rPr lang="ru-RU" sz="1020" b="1" u="sng" kern="0" dirty="0">
                  <a:solidFill>
                    <a:srgbClr val="3E87BD">
                      <a:lumMod val="75000"/>
                    </a:srgbClr>
                  </a:solidFill>
                </a:rPr>
                <a:t>. Обоснование выбора</a:t>
              </a:r>
            </a:p>
          </p:txBody>
        </p:sp>
        <p:sp>
          <p:nvSpPr>
            <p:cNvPr id="79" name="TextBox 65"/>
            <p:cNvSpPr txBox="1">
              <a:spLocks noChangeArrowheads="1"/>
            </p:cNvSpPr>
            <p:nvPr/>
          </p:nvSpPr>
          <p:spPr bwMode="auto">
            <a:xfrm>
              <a:off x="386093" y="2362086"/>
              <a:ext cx="3867988" cy="2353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Руководитель проекта</a:t>
              </a:r>
              <a:r>
                <a:rPr lang="en-US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en-US" altLang="ru-RU" sz="918" b="0" u="none" kern="0" dirty="0">
                  <a:solidFill>
                    <a:srgbClr val="414142"/>
                  </a:solidFill>
                </a:rPr>
                <a:t> </a:t>
              </a:r>
              <a:r>
                <a:rPr lang="ru-RU" altLang="ru-RU" sz="918" b="0" u="none" kern="0" dirty="0">
                  <a:solidFill>
                    <a:srgbClr val="414142"/>
                  </a:solidFill>
                </a:rPr>
                <a:t>Начальник общего отдела </a:t>
              </a:r>
              <a:r>
                <a:rPr lang="ru-RU" altLang="ru-RU" sz="918" b="0" u="none" kern="0" dirty="0" err="1">
                  <a:solidFill>
                    <a:srgbClr val="414142"/>
                  </a:solidFill>
                </a:rPr>
                <a:t>Теслова</a:t>
              </a:r>
              <a:r>
                <a:rPr lang="ru-RU" altLang="ru-RU" sz="918" b="0" u="none" kern="0" dirty="0">
                  <a:solidFill>
                    <a:srgbClr val="414142"/>
                  </a:solidFill>
                </a:rPr>
                <a:t> М.Н.</a:t>
              </a:r>
              <a:endParaRPr lang="ru-RU" altLang="ru-RU" sz="918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83" name="TextBox 65"/>
            <p:cNvSpPr txBox="1">
              <a:spLocks noChangeArrowheads="1"/>
            </p:cNvSpPr>
            <p:nvPr/>
          </p:nvSpPr>
          <p:spPr bwMode="auto">
            <a:xfrm>
              <a:off x="405295" y="1215900"/>
              <a:ext cx="4275209" cy="3845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Заказчики процесса</a:t>
              </a:r>
              <a:r>
                <a:rPr lang="en-US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918" u="none" kern="0" dirty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918" b="0" u="none" kern="0" dirty="0">
                  <a:solidFill>
                    <a:srgbClr val="414142"/>
                  </a:solidFill>
                </a:rPr>
                <a:t>сотрудники организации, работающие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b="0" u="none" kern="0" dirty="0">
                  <a:solidFill>
                    <a:srgbClr val="414142"/>
                  </a:solidFill>
                </a:rPr>
                <a:t> с документами</a:t>
              </a:r>
            </a:p>
          </p:txBody>
        </p:sp>
        <p:sp>
          <p:nvSpPr>
            <p:cNvPr id="84" name="TextBox 65"/>
            <p:cNvSpPr txBox="1">
              <a:spLocks noChangeArrowheads="1"/>
            </p:cNvSpPr>
            <p:nvPr/>
          </p:nvSpPr>
          <p:spPr bwMode="auto">
            <a:xfrm>
              <a:off x="376183" y="2651304"/>
              <a:ext cx="3955163" cy="5368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l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Команда проекта</a:t>
              </a:r>
              <a:r>
                <a:rPr lang="en-US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918" u="none" kern="0" dirty="0">
                  <a:solidFill>
                    <a:srgbClr val="414142"/>
                  </a:solidFill>
                </a:rPr>
                <a:t> </a:t>
              </a:r>
              <a:r>
                <a:rPr lang="ru-RU" altLang="ru-RU" sz="918" b="0" u="none" kern="0" dirty="0" err="1">
                  <a:solidFill>
                    <a:srgbClr val="414142"/>
                  </a:solidFill>
                </a:rPr>
                <a:t>Теслова</a:t>
              </a:r>
              <a:r>
                <a:rPr lang="ru-RU" altLang="ru-RU" sz="918" b="0" u="none" kern="0" dirty="0">
                  <a:solidFill>
                    <a:srgbClr val="414142"/>
                  </a:solidFill>
                </a:rPr>
                <a:t> Маргарита Николаевна, Жилин Александр Олегович, </a:t>
              </a:r>
              <a:r>
                <a:rPr lang="ru-RU" altLang="ru-RU" sz="918" b="0" u="none" kern="0" dirty="0" err="1">
                  <a:solidFill>
                    <a:srgbClr val="414142"/>
                  </a:solidFill>
                </a:rPr>
                <a:t>Колгушкина</a:t>
              </a:r>
              <a:r>
                <a:rPr lang="ru-RU" altLang="ru-RU" sz="918" b="0" u="none" kern="0" dirty="0">
                  <a:solidFill>
                    <a:srgbClr val="414142"/>
                  </a:solidFill>
                </a:rPr>
                <a:t> Людмила Геннадьевна, Луганская Елена Анатольевна</a:t>
              </a:r>
            </a:p>
          </p:txBody>
        </p:sp>
        <p:sp>
          <p:nvSpPr>
            <p:cNvPr id="85" name="TextBox 65"/>
            <p:cNvSpPr txBox="1">
              <a:spLocks noChangeArrowheads="1"/>
            </p:cNvSpPr>
            <p:nvPr/>
          </p:nvSpPr>
          <p:spPr bwMode="auto">
            <a:xfrm>
              <a:off x="386093" y="2096210"/>
              <a:ext cx="3870642" cy="2322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 dirty="0"/>
                <a:t>Владелец процесса</a:t>
              </a:r>
              <a:r>
                <a:rPr lang="en-US" altLang="ru-RU" sz="918" kern="0" dirty="0"/>
                <a:t>:</a:t>
              </a:r>
              <a:r>
                <a:rPr lang="ru-RU" altLang="ru-RU" sz="918" u="none" kern="0" dirty="0"/>
                <a:t> </a:t>
              </a:r>
              <a:r>
                <a:rPr lang="ru-RU" altLang="ru-RU" sz="918" b="0" u="none" kern="0" dirty="0">
                  <a:solidFill>
                    <a:srgbClr val="000000"/>
                  </a:solidFill>
                </a:rPr>
                <a:t>Общий отдел администрации Кромского района</a:t>
              </a:r>
              <a:endParaRPr lang="ru-RU" altLang="ru-RU" sz="918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4401340" y="4468180"/>
              <a:ext cx="4249617" cy="8925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2962" fontAlgn="base">
                <a:spcBef>
                  <a:spcPts val="306"/>
                </a:spcBef>
                <a:spcAft>
                  <a:spcPts val="306"/>
                </a:spcAft>
                <a:defRPr/>
              </a:pPr>
              <a:endParaRPr lang="ru-RU" altLang="ru-RU" sz="1224" kern="0" dirty="0">
                <a:solidFill>
                  <a:srgbClr val="414142"/>
                </a:solidFill>
              </a:endParaRPr>
            </a:p>
            <a:p>
              <a:pPr defTabSz="932962" fontAlgn="base">
                <a:spcBef>
                  <a:spcPts val="306"/>
                </a:spcBef>
                <a:spcAft>
                  <a:spcPts val="306"/>
                </a:spcAft>
                <a:defRPr/>
              </a:pPr>
              <a:endParaRPr lang="en-US" altLang="ru-RU" sz="1224" kern="0" dirty="0">
                <a:solidFill>
                  <a:srgbClr val="414142"/>
                </a:solidFill>
              </a:endParaRPr>
            </a:p>
            <a:p>
              <a:pPr defTabSz="932962" fontAlgn="base">
                <a:spcBef>
                  <a:spcPts val="306"/>
                </a:spcBef>
                <a:spcAft>
                  <a:spcPts val="306"/>
                </a:spcAft>
                <a:defRPr/>
              </a:pPr>
              <a:endParaRPr lang="en-US" altLang="ru-RU" sz="1224" kern="0" dirty="0">
                <a:solidFill>
                  <a:srgbClr val="414142"/>
                </a:solidFill>
              </a:endParaRPr>
            </a:p>
          </p:txBody>
        </p:sp>
        <p:sp>
          <p:nvSpPr>
            <p:cNvPr id="87" name="TextBox 65"/>
            <p:cNvSpPr txBox="1">
              <a:spLocks noChangeArrowheads="1"/>
            </p:cNvSpPr>
            <p:nvPr/>
          </p:nvSpPr>
          <p:spPr bwMode="auto">
            <a:xfrm>
              <a:off x="411224" y="1541116"/>
              <a:ext cx="4005488" cy="2322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Периметр проекта</a:t>
              </a:r>
              <a:r>
                <a:rPr lang="en-US" altLang="ru-RU" sz="918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918" u="none" kern="0" dirty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918" b="0" u="none" kern="0" dirty="0">
                  <a:solidFill>
                    <a:srgbClr val="000000"/>
                  </a:solidFill>
                </a:rPr>
                <a:t>Администрация Кромского района</a:t>
              </a:r>
              <a:endParaRPr lang="ru-RU" altLang="ru-RU" sz="918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88" name="TextBox 14"/>
            <p:cNvSpPr txBox="1">
              <a:spLocks noChangeArrowheads="1"/>
            </p:cNvSpPr>
            <p:nvPr/>
          </p:nvSpPr>
          <p:spPr bwMode="auto">
            <a:xfrm>
              <a:off x="4498585" y="1311193"/>
              <a:ext cx="4527278" cy="15777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233241" indent="-233241" defTabSz="932962" fontAlgn="base">
                <a:defRPr/>
              </a:pPr>
              <a:r>
                <a:rPr lang="ru-RU" altLang="ru-RU" sz="1020" b="1" kern="0" dirty="0">
                  <a:solidFill>
                    <a:srgbClr val="000000"/>
                  </a:solidFill>
                </a:rPr>
                <a:t>Ключевой риск: Срыв срока ответа на входящий документ.</a:t>
              </a:r>
            </a:p>
            <a:p>
              <a:pPr marL="233241" indent="-233241" defTabSz="932962" fontAlgn="base">
                <a:defRPr/>
              </a:pPr>
              <a:endParaRPr lang="ru-RU" altLang="ru-RU" sz="1020" b="1" kern="0" dirty="0">
                <a:solidFill>
                  <a:srgbClr val="000000"/>
                </a:solidFill>
              </a:endParaRPr>
            </a:p>
            <a:p>
              <a:pPr indent="-173311" defTabSz="932962" fontAlgn="base">
                <a:spcBef>
                  <a:spcPts val="0"/>
                </a:spcBef>
                <a:spcAft>
                  <a:spcPts val="0"/>
                </a:spcAft>
                <a:buFontTx/>
                <a:buAutoNum type="arabicPeriod"/>
                <a:defRPr/>
              </a:pPr>
              <a:r>
                <a:rPr lang="ru-RU" altLang="ru-RU" sz="1020" kern="0" dirty="0"/>
                <a:t>Большие временные затраты на получение письма и доведение до исполнителя.</a:t>
              </a:r>
            </a:p>
            <a:p>
              <a:pPr indent="-173311" defTabSz="932962" fontAlgn="base">
                <a:spcBef>
                  <a:spcPts val="0"/>
                </a:spcBef>
                <a:spcAft>
                  <a:spcPts val="0"/>
                </a:spcAft>
                <a:buFontTx/>
                <a:buAutoNum type="arabicPeriod"/>
                <a:defRPr/>
              </a:pPr>
              <a:endParaRPr lang="ru-RU" altLang="ru-RU" sz="1020" kern="0" dirty="0"/>
            </a:p>
            <a:p>
              <a:pPr indent="-173311" defTabSz="932962" fontAlgn="base">
                <a:spcBef>
                  <a:spcPts val="0"/>
                </a:spcBef>
                <a:spcAft>
                  <a:spcPts val="0"/>
                </a:spcAft>
                <a:buFontTx/>
                <a:buAutoNum type="arabicPeriod"/>
                <a:defRPr/>
              </a:pPr>
              <a:endParaRPr lang="ru-RU" altLang="ru-RU" sz="1020" kern="0" dirty="0"/>
            </a:p>
            <a:p>
              <a:pPr indent="-173311" defTabSz="932962" fontAlgn="base">
                <a:spcBef>
                  <a:spcPts val="0"/>
                </a:spcBef>
                <a:spcAft>
                  <a:spcPts val="0"/>
                </a:spcAft>
                <a:buFontTx/>
                <a:buAutoNum type="arabicPeriod"/>
                <a:defRPr/>
              </a:pPr>
              <a:r>
                <a:rPr lang="ru-RU" altLang="ru-RU" sz="1020" kern="0" dirty="0"/>
                <a:t>Большие временные затраты на согласование ответа и отправку его адресату.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29497" y="981541"/>
              <a:ext cx="4211640" cy="2742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20" b="1" u="sng" kern="0" dirty="0">
                  <a:solidFill>
                    <a:srgbClr val="3E87BD">
                      <a:lumMod val="75000"/>
                    </a:srgbClr>
                  </a:solidFill>
                </a:rPr>
                <a:t>1. Вовлеченные лица и рамки проекта</a:t>
              </a:r>
            </a:p>
          </p:txBody>
        </p:sp>
        <p:sp>
          <p:nvSpPr>
            <p:cNvPr id="90" name="TextBox 65"/>
            <p:cNvSpPr txBox="1">
              <a:spLocks noChangeArrowheads="1"/>
            </p:cNvSpPr>
            <p:nvPr/>
          </p:nvSpPr>
          <p:spPr bwMode="auto">
            <a:xfrm>
              <a:off x="386094" y="1759550"/>
              <a:ext cx="3870642" cy="6891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36731" tIns="36731" rIns="36731" bIns="36731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18" kern="0" dirty="0"/>
                <a:t>Границы процесса</a:t>
              </a:r>
              <a:r>
                <a:rPr lang="en-US" altLang="ru-RU" sz="918" kern="0" dirty="0"/>
                <a:t>:</a:t>
              </a:r>
              <a:r>
                <a:rPr lang="ru-RU" altLang="ru-RU" sz="918" u="none" kern="0" dirty="0"/>
                <a:t> </a:t>
              </a:r>
              <a:r>
                <a:rPr lang="ru-RU" sz="918" b="0" u="none" dirty="0">
                  <a:solidFill>
                    <a:srgbClr val="000000"/>
                  </a:solidFill>
                </a:rPr>
                <a:t>от поступления документа в администрацию до его отправки адресату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ru-RU" sz="918" b="0" u="none" dirty="0">
                <a:solidFill>
                  <a:srgbClr val="000000"/>
                </a:solidFill>
              </a:endParaRP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918" b="0" u="none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13" name="Таблица 1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586091"/>
              </p:ext>
            </p:extLst>
          </p:nvPr>
        </p:nvGraphicFramePr>
        <p:xfrm>
          <a:off x="549592" y="4078126"/>
          <a:ext cx="4144438" cy="15705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543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4280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4619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04288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Наименование </a:t>
                      </a:r>
                    </a:p>
                    <a:p>
                      <a:pPr algn="l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цели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10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1" u="sng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  <a:r>
                        <a:rPr lang="ru-RU" sz="1000" b="1" u="sng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530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Оптимизировать время, которое тратится на получение письма и доведение до исполнителя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ня</a:t>
                      </a: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день</a:t>
                      </a: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31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Оптимизировать временные затраты на согласование ответа и отправку адресату.</a:t>
                      </a:r>
                    </a:p>
                  </a:txBody>
                  <a:tcPr marL="93297" marR="93297" marT="46649" marB="4664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дня</a:t>
                      </a: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день</a:t>
                      </a:r>
                    </a:p>
                  </a:txBody>
                  <a:tcPr marL="93297" marR="93297" marT="47751" marB="4664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4" name="Прямоугольник 113"/>
          <p:cNvSpPr/>
          <p:nvPr/>
        </p:nvSpPr>
        <p:spPr>
          <a:xfrm>
            <a:off x="4839549" y="3871228"/>
            <a:ext cx="4461260" cy="22898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3311" defTabSz="932962" fontAlgn="base">
              <a:buFontTx/>
              <a:buAutoNum type="arabicPeriod"/>
              <a:defRPr/>
            </a:pPr>
            <a:r>
              <a:rPr lang="ru-RU" altLang="ru-RU" sz="1020" kern="0" dirty="0">
                <a:solidFill>
                  <a:srgbClr val="000000"/>
                </a:solidFill>
              </a:rPr>
              <a:t>Старт проекта – 15.11.20</a:t>
            </a:r>
          </a:p>
          <a:p>
            <a:pPr indent="-173311" defTabSz="932962" fontAlgn="base">
              <a:buFontTx/>
              <a:buAutoNum type="arabicPeriod"/>
              <a:defRPr/>
            </a:pPr>
            <a:r>
              <a:rPr lang="ru-RU" sz="1020" dirty="0">
                <a:solidFill>
                  <a:srgbClr val="000000"/>
                </a:solidFill>
              </a:rPr>
              <a:t>Диагностика и целевое состояние – 15.01.20 – 05.03.20</a:t>
            </a:r>
            <a:endParaRPr lang="ru-RU" sz="1020" kern="0" dirty="0">
              <a:solidFill>
                <a:srgbClr val="000000"/>
              </a:solidFill>
            </a:endParaRP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Разработка текущей карты процесса – 15.01.20 – 29.01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Разработка целевой карты процесса – 29.01.20 – 05.03.20</a:t>
            </a:r>
          </a:p>
          <a:p>
            <a:pPr marL="59929" indent="-173311" defTabSz="932962" fontAlgn="base">
              <a:buFontTx/>
              <a:buAutoNum type="arabicPeriod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Внедрение улучшений – 05.03.20 – 25.05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Совещание по защите подходов внедрения 05.03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пределение перечня мероприятий по реализации проекта – 06.03.20 – 11.03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Внедрение и проведение экспериментов мероприятий по достижению целей проекта – 12.03.20 –  18.05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Обучение участников процесса – 19.05.20 – 25.05.20</a:t>
            </a:r>
          </a:p>
          <a:p>
            <a:pPr marL="59929" indent="-173311" defTabSz="932962" fontAlgn="base">
              <a:buFontTx/>
              <a:buAutoNum type="arabicPeriod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Закрепление результатов и закрытие проекта– 25.05.20 – 15.06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Мониторинг достигнутых результатов – 25.05.20 – 10.06.20</a:t>
            </a:r>
          </a:p>
          <a:p>
            <a:pPr marL="528030" lvl="1" indent="-174930" defTabSz="932962" fontAlgn="base">
              <a:buFont typeface="Wingdings" pitchFamily="2" charset="2"/>
              <a:buChar char="ü"/>
              <a:defRPr/>
            </a:pPr>
            <a:r>
              <a:rPr lang="ru-RU" sz="1020" kern="0" dirty="0">
                <a:solidFill>
                  <a:srgbClr val="000000"/>
                </a:solidFill>
              </a:rPr>
              <a:t>Завершающее совещание – 15.06.20</a:t>
            </a:r>
          </a:p>
        </p:txBody>
      </p:sp>
    </p:spTree>
    <p:extLst>
      <p:ext uri="{BB962C8B-B14F-4D97-AF65-F5344CB8AC3E}">
        <p14:creationId xmlns:p14="http://schemas.microsoft.com/office/powerpoint/2010/main" val="3848583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1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2.xml><?xml version="1.0" encoding="utf-8"?>
<a:theme xmlns:a="http://schemas.openxmlformats.org/drawingml/2006/main" name="1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3.xml><?xml version="1.0" encoding="utf-8"?>
<a:theme xmlns:a="http://schemas.openxmlformats.org/drawingml/2006/main" name="1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1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1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1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1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3220</TotalTime>
  <Words>262</Words>
  <Application>Microsoft Office PowerPoint</Application>
  <PresentationFormat>Лист A4 (210x297 мм)</PresentationFormat>
  <Paragraphs>43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5" baseType="lpstr">
      <vt:lpstr>b-default</vt:lpstr>
      <vt:lpstr>9_b-default</vt:lpstr>
      <vt:lpstr>11_b-default</vt:lpstr>
      <vt:lpstr>5_RDM027</vt:lpstr>
      <vt:lpstr>17_RDM027</vt:lpstr>
      <vt:lpstr>10_RDM027</vt:lpstr>
      <vt:lpstr>11_RDM027</vt:lpstr>
      <vt:lpstr>12_RDM027</vt:lpstr>
      <vt:lpstr>13_RDM027</vt:lpstr>
      <vt:lpstr>14_RDM027</vt:lpstr>
      <vt:lpstr>16_RDM027</vt:lpstr>
      <vt:lpstr>15_RDM027</vt:lpstr>
      <vt:lpstr>15_b-default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111</cp:lastModifiedBy>
  <cp:revision>1369</cp:revision>
  <cp:lastPrinted>2020-03-12T09:26:15Z</cp:lastPrinted>
  <dcterms:created xsi:type="dcterms:W3CDTF">2015-03-06T06:22:34Z</dcterms:created>
  <dcterms:modified xsi:type="dcterms:W3CDTF">2020-03-12T13:17:18Z</dcterms:modified>
</cp:coreProperties>
</file>